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268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78" d="100"/>
          <a:sy n="78" d="100"/>
        </p:scale>
        <p:origin x="90" y="852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6/1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1/06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298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 June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68E3562-ACA8-4789-81E3-5B92F210E8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086723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Reduce electricity consumption up to 15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78" y="1409488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GB" dirty="0"/>
              <a:t>Eco lamps on Series 1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en-US" sz="800" kern="0" dirty="0">
                <a:solidFill>
                  <a:srgbClr val="000000"/>
                </a:solidFill>
              </a:rPr>
              <a:t>Value: Cost </a:t>
            </a:r>
            <a:r>
              <a:rPr lang="en-US" sz="800" kern="0" dirty="0" err="1">
                <a:solidFill>
                  <a:srgbClr val="000000"/>
                </a:solidFill>
              </a:rPr>
              <a:t>Optimisation</a:t>
            </a:r>
            <a:r>
              <a:rPr lang="en-US" sz="800" kern="0" dirty="0">
                <a:solidFill>
                  <a:srgbClr val="000000"/>
                </a:solidFill>
              </a:rPr>
              <a:t>, Sustainability</a:t>
            </a:r>
          </a:p>
          <a:p>
            <a:pPr lvl="0">
              <a:defRPr/>
            </a:pPr>
            <a:r>
              <a:rPr lang="en-US" sz="800" kern="0" dirty="0">
                <a:solidFill>
                  <a:srgbClr val="000000"/>
                </a:solidFill>
              </a:rPr>
              <a:t>Equipment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Series 1 blower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except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fr-FR" sz="800" kern="0" dirty="0" err="1">
                <a:solidFill>
                  <a:srgbClr val="000000"/>
                </a:solidFill>
              </a:rPr>
              <a:t>heat</a:t>
            </a:r>
            <a:r>
              <a:rPr lang="fr-FR" sz="800" kern="0">
                <a:solidFill>
                  <a:srgbClr val="000000"/>
                </a:solidFill>
              </a:rPr>
              <a:t>-set version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903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705267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Heating electricity consumption can be reduced    by at least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15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At least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5% </a:t>
                      </a:r>
                      <a:r>
                        <a:rPr lang="en-US" sz="1200" dirty="0"/>
                        <a:t>electricity savings on the ove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Increased level of radia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Easy fit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Better zoning and improved neck protection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Improved process stabilit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Quartz tube is mechanically protected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Processing capabilities remain universal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Combine the ECO lamps with the oven top reflector on Series 1 or Series 2 blowers </a:t>
                      </a:r>
                      <a:r>
                        <a:rPr lang="en-US" sz="1200" b="1"/>
                        <a:t>and get up to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30% power saving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very simple replacement of the 2kW infra red lamps by the new 1,700W proximity reflector lamp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 SBO Series 1  the ECO lamps can be installed without oven modifications whatever the oven pitch (15 mm, 19 mm, progressive)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700W ECO lamps last at least 5,000 hour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650961B0-9CE3-4920-86F9-F91D2B8F565C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1" name="Image 9">
            <a:extLst>
              <a:ext uri="{FF2B5EF4-FFF2-40B4-BE49-F238E27FC236}">
                <a16:creationId xmlns:a16="http://schemas.microsoft.com/office/drawing/2014/main" id="{AA49699E-B31B-41DC-B784-8061591F1E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3175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337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54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ce electricity consumption up to 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1-06-01T11:1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5:34.7353400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6:25.556713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6:25.556713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